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3"/>
  </p:notesMasterIdLst>
  <p:sldIdLst>
    <p:sldId id="378" r:id="rId2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A829"/>
    <a:srgbClr val="FFFFFF"/>
    <a:srgbClr val="92D050"/>
    <a:srgbClr val="2C5483"/>
    <a:srgbClr val="68B7D6"/>
    <a:srgbClr val="4472C4"/>
    <a:srgbClr val="336699"/>
    <a:srgbClr val="234067"/>
    <a:srgbClr val="FFC000"/>
    <a:srgbClr val="E380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65"/>
    <p:restoredTop sz="86306"/>
  </p:normalViewPr>
  <p:slideViewPr>
    <p:cSldViewPr snapToGrid="0" snapToObjects="1">
      <p:cViewPr varScale="1">
        <p:scale>
          <a:sx n="99" d="100"/>
          <a:sy n="99" d="100"/>
        </p:scale>
        <p:origin x="1308" y="90"/>
      </p:cViewPr>
      <p:guideLst/>
    </p:cSldViewPr>
  </p:slideViewPr>
  <p:outlineViewPr>
    <p:cViewPr>
      <p:scale>
        <a:sx n="33" d="100"/>
        <a:sy n="33" d="100"/>
      </p:scale>
      <p:origin x="0" y="-5323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F62BEF-B998-3948-AB5B-06CC35B4B7D6}" type="datetimeFigureOut">
              <a:rPr lang="da-DK" smtClean="0"/>
              <a:t>17-09-2018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A81D1-356B-7F43-9944-2041AB43F60D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1800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BA81D1-356B-7F43-9944-2041AB43F60D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1852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0039" y="328153"/>
            <a:ext cx="9652392" cy="448859"/>
          </a:xfrm>
          <a:prstGeom prst="rect">
            <a:avLst/>
          </a:prstGeom>
        </p:spPr>
        <p:txBody>
          <a:bodyPr anchor="b"/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0040" y="1156677"/>
            <a:ext cx="11033760" cy="51972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334766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68476AC9-B3CF-D140-9BE0-01B408353D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974"/>
            <a:ext cx="12192000" cy="6858000"/>
          </a:xfrm>
          <a:prstGeom prst="rect">
            <a:avLst/>
          </a:prstGeom>
        </p:spPr>
      </p:pic>
      <p:sp>
        <p:nvSpPr>
          <p:cNvPr id="8" name="Rektangel 7"/>
          <p:cNvSpPr/>
          <p:nvPr userDrawn="1"/>
        </p:nvSpPr>
        <p:spPr>
          <a:xfrm flipV="1">
            <a:off x="7813824" y="756651"/>
            <a:ext cx="4378177" cy="13244"/>
          </a:xfrm>
          <a:prstGeom prst="rect">
            <a:avLst/>
          </a:prstGeom>
          <a:solidFill>
            <a:srgbClr val="40AB3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0" y="6570801"/>
            <a:ext cx="12192000" cy="244476"/>
          </a:xfrm>
          <a:prstGeom prst="rect">
            <a:avLst/>
          </a:prstGeom>
          <a:solidFill>
            <a:srgbClr val="111F3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 sz="1800" dirty="0"/>
          </a:p>
        </p:txBody>
      </p:sp>
      <p:sp>
        <p:nvSpPr>
          <p:cNvPr id="12" name="Text Box 10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656440" y="6570800"/>
            <a:ext cx="922345" cy="248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en-GB" altLang="en-US" sz="1000" b="1" dirty="0">
                <a:solidFill>
                  <a:schemeClr val="bg1"/>
                </a:solidFill>
                <a:ea typeface="+mn-ea"/>
              </a:rPr>
              <a:t>Confidential</a:t>
            </a:r>
          </a:p>
        </p:txBody>
      </p:sp>
      <p:sp>
        <p:nvSpPr>
          <p:cNvPr id="13" name="Text Box 9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47651" y="6597651"/>
            <a:ext cx="1589194" cy="21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algn="l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Arial" pitchFamily="34" charset="0"/>
              <a:buNone/>
              <a:defRPr/>
            </a:pPr>
            <a:r>
              <a:rPr lang="en-GB" altLang="en-US" sz="800" b="0" dirty="0">
                <a:solidFill>
                  <a:schemeClr val="bg1"/>
                </a:solidFill>
                <a:ea typeface="+mn-ea"/>
              </a:rPr>
              <a:t>© SAFE Green Logistics, 2018</a:t>
            </a:r>
            <a:endParaRPr lang="en-GB" altLang="en-US" sz="900" dirty="0">
              <a:solidFill>
                <a:schemeClr val="bg1"/>
              </a:solidFill>
              <a:ea typeface="+mn-ea"/>
            </a:endParaRPr>
          </a:p>
        </p:txBody>
      </p:sp>
      <p:pic>
        <p:nvPicPr>
          <p:cNvPr id="11" name="Billede 10" descr="safelogo2014_transpare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7706" y="123343"/>
            <a:ext cx="1332360" cy="50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997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F67339-C477-2141-A870-72315B6F24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err="1"/>
              <a:t>DO’s</a:t>
            </a:r>
            <a:r>
              <a:rPr lang="da-DK" dirty="0"/>
              <a:t> – </a:t>
            </a:r>
            <a:r>
              <a:rPr lang="da-DK" dirty="0" err="1" smtClean="0"/>
              <a:t>DONT’s</a:t>
            </a:r>
            <a:r>
              <a:rPr lang="da-DK" dirty="0" smtClean="0"/>
              <a:t> for </a:t>
            </a:r>
            <a:r>
              <a:rPr lang="da-DK" dirty="0" err="1" smtClean="0"/>
              <a:t>working</a:t>
            </a:r>
            <a:r>
              <a:rPr lang="da-DK" dirty="0" smtClean="0"/>
              <a:t> with </a:t>
            </a:r>
            <a:r>
              <a:rPr lang="da-DK" dirty="0" err="1" smtClean="0"/>
              <a:t>corporates</a:t>
            </a:r>
            <a:r>
              <a:rPr lang="da-DK" dirty="0" smtClean="0"/>
              <a:t> </a:t>
            </a:r>
            <a:endParaRPr lang="da-DK" dirty="0"/>
          </a:p>
        </p:txBody>
      </p:sp>
      <p:graphicFrame>
        <p:nvGraphicFramePr>
          <p:cNvPr id="8" name="Tabel 7">
            <a:extLst>
              <a:ext uri="{FF2B5EF4-FFF2-40B4-BE49-F238E27FC236}">
                <a16:creationId xmlns:a16="http://schemas.microsoft.com/office/drawing/2014/main" id="{F677099C-162F-4449-B320-A67B264159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656070"/>
              </p:ext>
            </p:extLst>
          </p:nvPr>
        </p:nvGraphicFramePr>
        <p:xfrm>
          <a:off x="1529255" y="918902"/>
          <a:ext cx="8907518" cy="59129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759">
                  <a:extLst>
                    <a:ext uri="{9D8B030D-6E8A-4147-A177-3AD203B41FA5}">
                      <a16:colId xmlns:a16="http://schemas.microsoft.com/office/drawing/2014/main" val="1846161865"/>
                    </a:ext>
                  </a:extLst>
                </a:gridCol>
                <a:gridCol w="4453759">
                  <a:extLst>
                    <a:ext uri="{9D8B030D-6E8A-4147-A177-3AD203B41FA5}">
                      <a16:colId xmlns:a16="http://schemas.microsoft.com/office/drawing/2014/main" val="617681938"/>
                    </a:ext>
                  </a:extLst>
                </a:gridCol>
              </a:tblGrid>
              <a:tr h="2804011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BE PROFESSIONAL</a:t>
                      </a:r>
                    </a:p>
                    <a:p>
                      <a:pPr algn="l"/>
                      <a:endParaRPr lang="en-US" noProof="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noProof="0" dirty="0"/>
                        <a:t>Make the meeting be about the meeting… (BMW)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noProof="0" dirty="0"/>
                        <a:t>Culture – Cooperate – Demographically – Be considerate…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noProof="0" dirty="0"/>
                        <a:t>To whom are you speaking – R&amp;D, BD, CFO? “What time is it?” 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noProof="0" dirty="0"/>
                        <a:t>Be realistic about time…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noProof="0" dirty="0"/>
                        <a:t>Make them compete…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noProof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PROTECT YOURSELF</a:t>
                      </a:r>
                    </a:p>
                    <a:p>
                      <a:pPr algn="l"/>
                      <a:endParaRPr lang="en-US" noProof="0" dirty="0"/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noProof="0" dirty="0"/>
                        <a:t>Non Disclosure Agreements (MAERSK, AMAZON, DHL)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noProof="0" dirty="0"/>
                        <a:t>Patents (You need this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noProof="0" dirty="0"/>
                        <a:t>Nobody sells the idea better than yourself,  but you will need – Legal/M&amp;A advisors.</a:t>
                      </a:r>
                    </a:p>
                    <a:p>
                      <a:pPr algn="l"/>
                      <a:endParaRPr lang="en-US" noProof="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261300"/>
                  </a:ext>
                </a:extLst>
              </a:tr>
              <a:tr h="2804011">
                <a:tc>
                  <a:txBody>
                    <a:bodyPr/>
                    <a:lstStyle/>
                    <a:p>
                      <a:pPr algn="ctr"/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THE OFFER – BUSINESSPLAN</a:t>
                      </a:r>
                    </a:p>
                    <a:p>
                      <a:pPr algn="l"/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Outside in analysis – Try to see it from their perspective. Coffee talk...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Roadmaps, budgets (investment phases)  etc. How to proceed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Business models.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SHOW THEM THE MONEY..!!!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KNOW YOUR LIMMETS</a:t>
                      </a:r>
                    </a:p>
                    <a:p>
                      <a:pPr algn="l"/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Do not be bullied – say NO.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b="1" noProof="0" dirty="0">
                          <a:solidFill>
                            <a:schemeClr val="bg1"/>
                          </a:solidFill>
                        </a:rPr>
                        <a:t>Be ready to walk away…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5256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5914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I0x6ZAkOD6gsGcc9.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uixTECH0yPiSTrMvUE5A"/>
</p:tagLst>
</file>

<file path=ppt/theme/theme1.xml><?xml version="1.0" encoding="utf-8"?>
<a:theme xmlns:a="http://schemas.openxmlformats.org/drawingml/2006/main" name="1_Kontor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528</TotalTime>
  <Words>147</Words>
  <Application>Microsoft Office PowerPoint</Application>
  <PresentationFormat>Widescreen</PresentationFormat>
  <Paragraphs>2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1_Kontortema</vt:lpstr>
      <vt:lpstr>DO’s – DONT’s for working with corporat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Kasper Engstrøm Lyhne</dc:creator>
  <cp:lastModifiedBy>STASIAKOWSKA Agnieszka (EASME)</cp:lastModifiedBy>
  <cp:revision>626</cp:revision>
  <cp:lastPrinted>2017-09-04T19:51:47Z</cp:lastPrinted>
  <dcterms:created xsi:type="dcterms:W3CDTF">2017-03-21T09:30:10Z</dcterms:created>
  <dcterms:modified xsi:type="dcterms:W3CDTF">2018-09-17T10:14:55Z</dcterms:modified>
</cp:coreProperties>
</file>